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22.xml" ContentType="application/vnd.openxmlformats-officedocument.drawingml.diagramColors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diagrams/data22.xml" ContentType="application/vnd.openxmlformats-officedocument.drawingml.diagramData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diagrams/quickStyle22.xml" ContentType="application/vnd.openxmlformats-officedocument.drawingml.diagramStyle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diagrams/layout22.xml" ContentType="application/vnd.openxmlformats-officedocument.drawingml.diagram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drawing7.xml" ContentType="application/vnd.ms-office.drawingml.diagramDrawing+xml"/>
  <Override PartName="/ppt/diagrams/layout13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276" r:id="rId13"/>
    <p:sldId id="286" r:id="rId14"/>
    <p:sldId id="299" r:id="rId15"/>
    <p:sldId id="308" r:id="rId16"/>
    <p:sldId id="337" r:id="rId17"/>
    <p:sldId id="318" r:id="rId18"/>
    <p:sldId id="317" r:id="rId19"/>
    <p:sldId id="292" r:id="rId20"/>
    <p:sldId id="284" r:id="rId21"/>
    <p:sldId id="334" r:id="rId22"/>
  </p:sldIdLst>
  <p:sldSz cx="9144000" cy="6858000" type="screen4x3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 varScale="1">
        <p:scale>
          <a:sx n="124" d="100"/>
          <a:sy n="124" d="100"/>
        </p:scale>
        <p:origin x="-1176" y="-10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22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dirty="0" smtClean="0"/>
            <a:t>DevOps goals</a:t>
          </a:r>
          <a:endParaRPr lang="de-DE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dirty="0" smtClean="0"/>
            <a:t>Features</a:t>
          </a:r>
          <a:endParaRPr lang="de-DE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dirty="0" smtClean="0"/>
            <a:t>Software Overview</a:t>
          </a:r>
          <a:endParaRPr lang="de-DE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Deployment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dirty="0" smtClean="0"/>
            <a:t>Command lines</a:t>
          </a:r>
          <a:endParaRPr lang="de-DE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dirty="0" smtClean="0"/>
            <a:t>Key Terms</a:t>
          </a:r>
          <a:endParaRPr lang="de-DE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53215C3-B1F5-408B-A8B4-3C783A758AE9}" type="presOf" srcId="{1968B98D-1F79-48F4-843D-EEAAFBF24535}" destId="{7C17F7B8-EB0F-4438-9B5F-C6AF959C98AD}" srcOrd="0" destOrd="0" presId="urn:microsoft.com/office/officeart/2005/8/layout/vList5"/>
    <dgm:cxn modelId="{64500707-98A1-4D33-835C-B9C6387C81BA}" type="presOf" srcId="{6FDCFBA1-1455-4DA5-9D03-16B9B16DB190}" destId="{EE9E695F-4BC6-419D-BDAC-FC9F0A0DDD23}" srcOrd="0" destOrd="0" presId="urn:microsoft.com/office/officeart/2005/8/layout/vList5"/>
    <dgm:cxn modelId="{BCD7CC93-9CA6-407F-BC50-74CC742FFDB5}" type="presOf" srcId="{07D05C88-76D6-4FF8-9D06-E0F6DFE64715}" destId="{448F2A67-E6E2-41D3-BBA0-9D50EB592CFC}" srcOrd="0" destOrd="0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CF107C83-2B8A-4122-9CAA-316DA271BED7}" type="presOf" srcId="{C88559B0-CAB1-44BF-93B1-238B1F158C50}" destId="{A2A62A9B-AB8B-4EC7-AEB2-270716C007B5}" srcOrd="0" destOrd="0" presId="urn:microsoft.com/office/officeart/2005/8/layout/vList5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B9DCE076-8643-4624-92E4-2630823F39B6}" type="presOf" srcId="{B5D6904C-D49C-441C-8EF3-B2C5CA8CA324}" destId="{E11601EB-F660-440A-AEEA-AF4CFEF139C5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66277CAF-A185-4730-916A-DF834817270A}" type="presOf" srcId="{CE350EE0-9270-41A4-90E7-2809F2C20CAE}" destId="{6F9362EE-2ECA-4FA3-A6AD-C9543318F45F}" srcOrd="0" destOrd="0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6BF228C-DE36-43C6-AA35-C745E79ABC2F}" type="presOf" srcId="{E4F4CE58-4869-4FF9-AE3C-64C2A7BAC8A2}" destId="{EE9E695F-4BC6-419D-BDAC-FC9F0A0DDD23}" srcOrd="0" destOrd="2" presId="urn:microsoft.com/office/officeart/2005/8/layout/vList5"/>
    <dgm:cxn modelId="{4D413C16-8794-4678-8C9A-0483DC544D9F}" type="presOf" srcId="{6FA0FFD3-1DA2-47F5-835E-CFE50E6B57E2}" destId="{EE9E695F-4BC6-419D-BDAC-FC9F0A0DDD23}" srcOrd="0" destOrd="1" presId="urn:microsoft.com/office/officeart/2005/8/layout/vList5"/>
    <dgm:cxn modelId="{F66B028B-EE28-4F78-9F0E-216C35AD8C0B}" type="presOf" srcId="{251B9E23-E011-4DBF-9C2F-F9F43DF4CF28}" destId="{A257B72E-F754-444C-B866-6FAF8336919B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7307CF8F-79A2-4EC8-9242-44BA813A1F17}" type="presOf" srcId="{CCCC570F-1257-4D0E-BD30-D1B6C5A96D1D}" destId="{EE9E695F-4BC6-419D-BDAC-FC9F0A0DDD23}" srcOrd="0" destOrd="3" presId="urn:microsoft.com/office/officeart/2005/8/layout/vList5"/>
    <dgm:cxn modelId="{D5476603-0ACD-4D29-ACA1-F97AD5E7DF6A}" type="presParOf" srcId="{A2A62A9B-AB8B-4EC7-AEB2-270716C007B5}" destId="{4485F3D3-D9BB-4157-8EAD-C1CB6247D9CA}" srcOrd="0" destOrd="0" presId="urn:microsoft.com/office/officeart/2005/8/layout/vList5"/>
    <dgm:cxn modelId="{EB024C6F-CAC9-49BC-9807-0D495A2168D4}" type="presParOf" srcId="{4485F3D3-D9BB-4157-8EAD-C1CB6247D9CA}" destId="{E11601EB-F660-440A-AEEA-AF4CFEF139C5}" srcOrd="0" destOrd="0" presId="urn:microsoft.com/office/officeart/2005/8/layout/vList5"/>
    <dgm:cxn modelId="{6212C661-79F6-4F44-99F2-DA90AE98F71E}" type="presParOf" srcId="{4485F3D3-D9BB-4157-8EAD-C1CB6247D9CA}" destId="{448F2A67-E6E2-41D3-BBA0-9D50EB592CFC}" srcOrd="1" destOrd="0" presId="urn:microsoft.com/office/officeart/2005/8/layout/vList5"/>
    <dgm:cxn modelId="{F6320174-0459-4C09-BAA1-25AA7BC45E9C}" type="presParOf" srcId="{A2A62A9B-AB8B-4EC7-AEB2-270716C007B5}" destId="{EED2FB6E-51C3-4C14-BE07-2781C781930D}" srcOrd="1" destOrd="0" presId="urn:microsoft.com/office/officeart/2005/8/layout/vList5"/>
    <dgm:cxn modelId="{41533C82-1AA7-4B53-8F68-3999F27F4B61}" type="presParOf" srcId="{A2A62A9B-AB8B-4EC7-AEB2-270716C007B5}" destId="{FDF9A460-C2CA-48E3-B8E3-121E0CBE6AB7}" srcOrd="2" destOrd="0" presId="urn:microsoft.com/office/officeart/2005/8/layout/vList5"/>
    <dgm:cxn modelId="{334CB0BF-3708-4ED0-961E-44842696F602}" type="presParOf" srcId="{FDF9A460-C2CA-48E3-B8E3-121E0CBE6AB7}" destId="{A257B72E-F754-444C-B866-6FAF8336919B}" srcOrd="0" destOrd="0" presId="urn:microsoft.com/office/officeart/2005/8/layout/vList5"/>
    <dgm:cxn modelId="{90E6B2B9-C3E4-4039-9FB9-3403CF5915BC}" type="presParOf" srcId="{FDF9A460-C2CA-48E3-B8E3-121E0CBE6AB7}" destId="{EE9E695F-4BC6-419D-BDAC-FC9F0A0DDD23}" srcOrd="1" destOrd="0" presId="urn:microsoft.com/office/officeart/2005/8/layout/vList5"/>
    <dgm:cxn modelId="{2511EE2C-79D4-4C77-9D30-E2590112B635}" type="presParOf" srcId="{A2A62A9B-AB8B-4EC7-AEB2-270716C007B5}" destId="{D1583CDC-85FB-42A5-931D-3068F2C4E237}" srcOrd="3" destOrd="0" presId="urn:microsoft.com/office/officeart/2005/8/layout/vList5"/>
    <dgm:cxn modelId="{321F8278-AAF6-4125-8F2C-EA277F5A12DF}" type="presParOf" srcId="{A2A62A9B-AB8B-4EC7-AEB2-270716C007B5}" destId="{87BEDE4D-9619-45FE-8D45-761BA3D28F9C}" srcOrd="4" destOrd="0" presId="urn:microsoft.com/office/officeart/2005/8/layout/vList5"/>
    <dgm:cxn modelId="{18A98C08-5C8F-48E2-AED7-FD05060D6CE1}" type="presParOf" srcId="{87BEDE4D-9619-45FE-8D45-761BA3D28F9C}" destId="{6F9362EE-2ECA-4FA3-A6AD-C9543318F45F}" srcOrd="0" destOrd="0" presId="urn:microsoft.com/office/officeart/2005/8/layout/vList5"/>
    <dgm:cxn modelId="{4B74391A-6ABB-41A2-8063-FA838E5D30C3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287D1D-FDA1-4742-A408-5BDEFDBCE688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5F5A775-5145-4508-93AB-807401BE6654}" type="presOf" srcId="{F351D095-D2C1-4F62-A18D-EFB4BA6E2AA9}" destId="{6BF66C9A-92D4-481D-A538-FD1A4E3DC0D5}" srcOrd="0" destOrd="0" presId="urn:microsoft.com/office/officeart/2005/8/layout/chevron1"/>
    <dgm:cxn modelId="{91F41517-41C6-4B0B-9D7F-0A3388B100A8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A35104-4618-4E2F-B406-2F1D618008CC}" type="presOf" srcId="{EB61DA86-9B86-4759-822E-DA32F7AA073E}" destId="{135DB1F4-89C2-4733-9521-42FD5CECF10C}" srcOrd="0" destOrd="0" presId="urn:microsoft.com/office/officeart/2005/8/layout/chevron1"/>
    <dgm:cxn modelId="{0E1975D4-8843-420B-8A2A-CAE3FA1B393B}" type="presOf" srcId="{544A2B27-F62F-4504-85C1-82D7732CCB0A}" destId="{6B5B1B16-1D46-4D7F-892D-7D67FB436452}" srcOrd="0" destOrd="0" presId="urn:microsoft.com/office/officeart/2005/8/layout/chevron1"/>
    <dgm:cxn modelId="{31996206-2421-46EF-87EC-8D5DDCF4574E}" type="presParOf" srcId="{0AECE453-CE2A-473C-BD27-70D00DA5B95C}" destId="{135DB1F4-89C2-4733-9521-42FD5CECF10C}" srcOrd="0" destOrd="0" presId="urn:microsoft.com/office/officeart/2005/8/layout/chevron1"/>
    <dgm:cxn modelId="{C6D1A5D7-EA85-4405-B12A-C2CCF43EC149}" type="presParOf" srcId="{0AECE453-CE2A-473C-BD27-70D00DA5B95C}" destId="{E1C76734-9ABE-473C-AD4C-C4BF49F91E97}" srcOrd="1" destOrd="0" presId="urn:microsoft.com/office/officeart/2005/8/layout/chevron1"/>
    <dgm:cxn modelId="{2DA8FC77-541C-48E0-A316-2026AB9C9023}" type="presParOf" srcId="{0AECE453-CE2A-473C-BD27-70D00DA5B95C}" destId="{6BF66C9A-92D4-481D-A538-FD1A4E3DC0D5}" srcOrd="2" destOrd="0" presId="urn:microsoft.com/office/officeart/2005/8/layout/chevron1"/>
    <dgm:cxn modelId="{4EF6FB50-6FC8-40CC-BF78-C9D685FDEB0B}" type="presParOf" srcId="{0AECE453-CE2A-473C-BD27-70D00DA5B95C}" destId="{691CB221-7DD5-49BE-AC21-301798066F30}" srcOrd="3" destOrd="0" presId="urn:microsoft.com/office/officeart/2005/8/layout/chevron1"/>
    <dgm:cxn modelId="{1E7000A1-4A8B-47AD-BFE5-5288D65056D4}" type="presParOf" srcId="{0AECE453-CE2A-473C-BD27-70D00DA5B95C}" destId="{6B5B1B16-1D46-4D7F-892D-7D67FB436452}" srcOrd="4" destOrd="0" presId="urn:microsoft.com/office/officeart/2005/8/layout/chevron1"/>
    <dgm:cxn modelId="{385FD0C7-2B14-4D4E-84D5-96D28C713C5A}" type="presParOf" srcId="{0AECE453-CE2A-473C-BD27-70D00DA5B95C}" destId="{E20E6850-4B52-4A6E-A4B6-B5AE207EA15E}" srcOrd="5" destOrd="0" presId="urn:microsoft.com/office/officeart/2005/8/layout/chevron1"/>
    <dgm:cxn modelId="{EFA60126-25CD-4291-B6DC-68AD415CC66D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BE420C-E1DC-4977-A7D4-9E183B09CAE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754D10-2C07-45C2-B7FD-5EBFAD8931BB}" type="presOf" srcId="{544A2B27-F62F-4504-85C1-82D7732CCB0A}" destId="{6B5B1B16-1D46-4D7F-892D-7D67FB436452}" srcOrd="0" destOrd="0" presId="urn:microsoft.com/office/officeart/2005/8/layout/chevron1"/>
    <dgm:cxn modelId="{CF3C4C8C-ACEF-48EE-AD41-3F976599DF86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E6F8D6F5-EC61-4052-8797-64E8DC35BB74}" type="presOf" srcId="{F351D095-D2C1-4F62-A18D-EFB4BA6E2AA9}" destId="{6BF66C9A-92D4-481D-A538-FD1A4E3DC0D5}" srcOrd="0" destOrd="0" presId="urn:microsoft.com/office/officeart/2005/8/layout/chevron1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69AEC136-EC9D-4BF9-9D65-D411B20DC6D8}" type="presOf" srcId="{D14807FD-294C-4482-91EE-34C09B13669A}" destId="{BCE275B7-D1E9-4183-BABE-507E54E1C931}" srcOrd="0" destOrd="0" presId="urn:microsoft.com/office/officeart/2005/8/layout/chevron1"/>
    <dgm:cxn modelId="{4B9F70E0-74D8-4F66-AC8F-713322917224}" type="presParOf" srcId="{0AECE453-CE2A-473C-BD27-70D00DA5B95C}" destId="{135DB1F4-89C2-4733-9521-42FD5CECF10C}" srcOrd="0" destOrd="0" presId="urn:microsoft.com/office/officeart/2005/8/layout/chevron1"/>
    <dgm:cxn modelId="{094259B6-3D6A-4EBA-8FDF-101ABF03094E}" type="presParOf" srcId="{0AECE453-CE2A-473C-BD27-70D00DA5B95C}" destId="{E1C76734-9ABE-473C-AD4C-C4BF49F91E97}" srcOrd="1" destOrd="0" presId="urn:microsoft.com/office/officeart/2005/8/layout/chevron1"/>
    <dgm:cxn modelId="{8C3E2DDB-DA75-40AE-9965-D9A4F383079D}" type="presParOf" srcId="{0AECE453-CE2A-473C-BD27-70D00DA5B95C}" destId="{6BF66C9A-92D4-481D-A538-FD1A4E3DC0D5}" srcOrd="2" destOrd="0" presId="urn:microsoft.com/office/officeart/2005/8/layout/chevron1"/>
    <dgm:cxn modelId="{174E8255-A5D7-4FE8-92CA-F8BF67E0EA1F}" type="presParOf" srcId="{0AECE453-CE2A-473C-BD27-70D00DA5B95C}" destId="{691CB221-7DD5-49BE-AC21-301798066F30}" srcOrd="3" destOrd="0" presId="urn:microsoft.com/office/officeart/2005/8/layout/chevron1"/>
    <dgm:cxn modelId="{B86FAC1F-8014-4C3D-B4A4-8436A5091060}" type="presParOf" srcId="{0AECE453-CE2A-473C-BD27-70D00DA5B95C}" destId="{6B5B1B16-1D46-4D7F-892D-7D67FB436452}" srcOrd="4" destOrd="0" presId="urn:microsoft.com/office/officeart/2005/8/layout/chevron1"/>
    <dgm:cxn modelId="{06028B07-8548-4BE1-A644-92BCCC709CBF}" type="presParOf" srcId="{0AECE453-CE2A-473C-BD27-70D00DA5B95C}" destId="{E20E6850-4B52-4A6E-A4B6-B5AE207EA15E}" srcOrd="5" destOrd="0" presId="urn:microsoft.com/office/officeart/2005/8/layout/chevron1"/>
    <dgm:cxn modelId="{A1334A36-8545-4E4B-9551-2B7C4B06E67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Video coming soon !</a:t>
          </a: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8F8DB4-BCD9-4615-8385-1D3472B2E4F3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888CA46-11B6-4D63-A8F8-29430E5DD5E4}" type="presOf" srcId="{F351D095-D2C1-4F62-A18D-EFB4BA6E2AA9}" destId="{6BF66C9A-92D4-481D-A538-FD1A4E3DC0D5}" srcOrd="0" destOrd="0" presId="urn:microsoft.com/office/officeart/2005/8/layout/chevron1"/>
    <dgm:cxn modelId="{FCE2A699-114B-4F48-BFC5-A32E35DF86BD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1B5D096-B112-499A-A54B-E38BE9A0627B}" type="presOf" srcId="{544A2B27-F62F-4504-85C1-82D7732CCB0A}" destId="{6B5B1B16-1D46-4D7F-892D-7D67FB43645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4100D793-FA05-43A9-A3AF-563AD6D59A79}" type="presOf" srcId="{EB61DA86-9B86-4759-822E-DA32F7AA073E}" destId="{135DB1F4-89C2-4733-9521-42FD5CECF10C}" srcOrd="0" destOrd="0" presId="urn:microsoft.com/office/officeart/2005/8/layout/chevron1"/>
    <dgm:cxn modelId="{BA9855BA-74AD-4CD6-823B-636DD8190AEA}" type="presParOf" srcId="{0AECE453-CE2A-473C-BD27-70D00DA5B95C}" destId="{135DB1F4-89C2-4733-9521-42FD5CECF10C}" srcOrd="0" destOrd="0" presId="urn:microsoft.com/office/officeart/2005/8/layout/chevron1"/>
    <dgm:cxn modelId="{C725BE56-56C4-47E8-AFB0-ED5ACCE2FE07}" type="presParOf" srcId="{0AECE453-CE2A-473C-BD27-70D00DA5B95C}" destId="{E1C76734-9ABE-473C-AD4C-C4BF49F91E97}" srcOrd="1" destOrd="0" presId="urn:microsoft.com/office/officeart/2005/8/layout/chevron1"/>
    <dgm:cxn modelId="{6A7522CA-56EF-4DBD-B439-1C40526B8B7B}" type="presParOf" srcId="{0AECE453-CE2A-473C-BD27-70D00DA5B95C}" destId="{6BF66C9A-92D4-481D-A538-FD1A4E3DC0D5}" srcOrd="2" destOrd="0" presId="urn:microsoft.com/office/officeart/2005/8/layout/chevron1"/>
    <dgm:cxn modelId="{6A29DCB8-316D-4B36-80B7-93702032AFFE}" type="presParOf" srcId="{0AECE453-CE2A-473C-BD27-70D00DA5B95C}" destId="{691CB221-7DD5-49BE-AC21-301798066F30}" srcOrd="3" destOrd="0" presId="urn:microsoft.com/office/officeart/2005/8/layout/chevron1"/>
    <dgm:cxn modelId="{490B64B4-8FFF-4D55-95B0-1722BC5EAF12}" type="presParOf" srcId="{0AECE453-CE2A-473C-BD27-70D00DA5B95C}" destId="{6B5B1B16-1D46-4D7F-892D-7D67FB436452}" srcOrd="4" destOrd="0" presId="urn:microsoft.com/office/officeart/2005/8/layout/chevron1"/>
    <dgm:cxn modelId="{DF36F7E3-1322-4068-BEDC-35C7C12D6C83}" type="presParOf" srcId="{0AECE453-CE2A-473C-BD27-70D00DA5B95C}" destId="{E20E6850-4B52-4A6E-A4B6-B5AE207EA15E}" srcOrd="5" destOrd="0" presId="urn:microsoft.com/office/officeart/2005/8/layout/chevron1"/>
    <dgm:cxn modelId="{491FFF50-AB2B-439B-A7BC-0ABE3B1998C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vOps goals</a:t>
          </a:r>
          <a:endParaRPr lang="de-DE" sz="1600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Introduction</a:t>
          </a:r>
          <a:endParaRPr lang="de-DE" sz="1800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eatur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Software Overview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Command lin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Key Terms</a:t>
          </a:r>
          <a:endParaRPr lang="de-DE" sz="1600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OpenStack</a:t>
          </a:r>
          <a:endParaRPr lang="de-DE" sz="1800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ployment</a:t>
          </a:r>
          <a:endParaRPr lang="de-DE" sz="1600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lekomCLOUD</a:t>
          </a:r>
          <a:endParaRPr lang="de-DE" sz="1800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238201" y="80"/>
          <a:ext cx="6923321" cy="4127658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b="1" kern="1200" dirty="0" smtClean="0">
              <a:solidFill>
                <a:schemeClr val="bg1"/>
              </a:solidFill>
            </a:rPr>
            <a:t>Video coming soon !</a:t>
          </a:r>
        </a:p>
      </dsp:txBody>
      <dsp:txXfrm>
        <a:off x="238201" y="80"/>
        <a:ext cx="6923321" cy="4127658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27.07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2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1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0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19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3.jpeg"/><Relationship Id="rId1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4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5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8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8.xml"/><Relationship Id="rId5" Type="http://schemas.openxmlformats.org/officeDocument/2006/relationships/diagramData" Target="../diagrams/data18.xml"/><Relationship Id="rId4" Type="http://schemas.openxmlformats.org/officeDocument/2006/relationships/image" Target="../media/image26.jpeg"/><Relationship Id="rId9" Type="http://schemas.microsoft.com/office/2007/relationships/diagramDrawing" Target="../diagrams/drawing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12" Type="http://schemas.openxmlformats.org/officeDocument/2006/relationships/image" Target="../media/image31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9.xml"/><Relationship Id="rId11" Type="http://schemas.openxmlformats.org/officeDocument/2006/relationships/image" Target="../media/image30.gif"/><Relationship Id="rId5" Type="http://schemas.openxmlformats.org/officeDocument/2006/relationships/diagramQuickStyle" Target="../diagrams/quickStyle19.xml"/><Relationship Id="rId10" Type="http://schemas.openxmlformats.org/officeDocument/2006/relationships/image" Target="../media/image29.png"/><Relationship Id="rId4" Type="http://schemas.openxmlformats.org/officeDocument/2006/relationships/diagramLayout" Target="../diagrams/layout19.xml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1.xml"/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12" Type="http://schemas.microsoft.com/office/2007/relationships/diagramDrawing" Target="../diagrams/drawing21.xm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0.xml"/><Relationship Id="rId11" Type="http://schemas.openxmlformats.org/officeDocument/2006/relationships/diagramColors" Target="../diagrams/colors21.xml"/><Relationship Id="rId5" Type="http://schemas.openxmlformats.org/officeDocument/2006/relationships/diagramQuickStyle" Target="../diagrams/quickStyle20.xml"/><Relationship Id="rId10" Type="http://schemas.openxmlformats.org/officeDocument/2006/relationships/diagramQuickStyle" Target="../diagrams/quickStyle21.xml"/><Relationship Id="rId4" Type="http://schemas.openxmlformats.org/officeDocument/2006/relationships/diagramLayout" Target="../diagrams/layout20.xml"/><Relationship Id="rId9" Type="http://schemas.openxmlformats.org/officeDocument/2006/relationships/diagramLayout" Target="../diagrams/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2.xml"/><Relationship Id="rId3" Type="http://schemas.openxmlformats.org/officeDocument/2006/relationships/notesSlide" Target="../notesSlides/notesSlide17.xml"/><Relationship Id="rId7" Type="http://schemas.openxmlformats.org/officeDocument/2006/relationships/diagramLayout" Target="../diagrams/layout2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2.xml"/><Relationship Id="rId5" Type="http://schemas.openxmlformats.org/officeDocument/2006/relationships/image" Target="../media/image12.jpeg"/><Relationship Id="rId10" Type="http://schemas.microsoft.com/office/2007/relationships/diagramDrawing" Target="../diagrams/drawing22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/>
              <a:t>„Cloud Kindergarten“</a:t>
            </a:r>
            <a:endParaRPr lang="de-DE" sz="4400" dirty="0">
              <a:solidFill>
                <a:srgbClr val="E20074"/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hort Descrip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3 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27.07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3 Our Deployment – USecase 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8" name="Picture 1" descr="\\HE100167e005\a48937014$\Home\Data\Präsentation\Pics\Operate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92820" y="969496"/>
            <a:ext cx="6943491" cy="4416027"/>
          </a:xfrm>
          <a:prstGeom prst="rect">
            <a:avLst/>
          </a:prstGeom>
          <a:noFill/>
        </p:spPr>
      </p:pic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EE345-8A69-4613-B604-17B45465685E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5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7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1038169"/>
            <a:ext cx="5259950" cy="332399"/>
          </a:xfrm>
        </p:spPr>
        <p:txBody>
          <a:bodyPr/>
          <a:lstStyle/>
          <a:p>
            <a:r>
              <a:rPr lang="de-DE" sz="2400" dirty="0" smtClean="0">
                <a:solidFill>
                  <a:schemeClr val="bg1"/>
                </a:solidFill>
              </a:rPr>
              <a:t>„Creating a Tenant With OpenStack“ 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27.07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8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/>
              <a:t>Thank you for </a:t>
            </a:r>
            <a:br>
              <a:rPr lang="de-DE" sz="4800" dirty="0" smtClean="0"/>
            </a:br>
            <a:r>
              <a:rPr lang="de-DE" sz="4800" dirty="0" smtClean="0"/>
              <a:t>your Attention !!</a:t>
            </a:r>
            <a:endParaRPr lang="de-DE" sz="4800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1084320"/>
          <a:ext cx="5578666" cy="4425131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6181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633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8852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181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633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633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181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181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2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Cloud Kindergarten – 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43609" y="1058888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4" name="Rechteck 13"/>
          <p:cNvSpPr/>
          <p:nvPr/>
        </p:nvSpPr>
        <p:spPr>
          <a:xfrm>
            <a:off x="6854283" y="1070517"/>
            <a:ext cx="1680117" cy="24012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7092176" y="1427356"/>
            <a:ext cx="139761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Single Pictur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4" name="Rechteck 13"/>
          <p:cNvSpPr/>
          <p:nvPr/>
        </p:nvSpPr>
        <p:spPr>
          <a:xfrm>
            <a:off x="6854283" y="1070517"/>
            <a:ext cx="1680117" cy="24012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7092176" y="1427356"/>
            <a:ext cx="139761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Single Pictur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27" name="Diagramm 26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27.07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96</Words>
  <Application>Microsoft Office PowerPoint</Application>
  <PresentationFormat>Bildschirmpräsentation (4:3)</PresentationFormat>
  <Paragraphs>335</Paragraphs>
  <Slides>21</Slides>
  <Notes>1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</vt:lpstr>
      <vt:lpstr>1.1 Who Are We ?</vt:lpstr>
      <vt:lpstr>1.1 Who Are We ?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3 Our Deployment – Datacenter</vt:lpstr>
      <vt:lpstr>2.3 Our Deployment – USecase </vt:lpstr>
      <vt:lpstr>3. OpenStack in  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683</cp:revision>
  <cp:lastPrinted>2012-09-04T09:22:48Z</cp:lastPrinted>
  <dcterms:created xsi:type="dcterms:W3CDTF">2016-04-21T06:54:03Z</dcterms:created>
  <dcterms:modified xsi:type="dcterms:W3CDTF">2016-07-27T14:0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